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2519363" cy="2376488"/>
  <p:notesSz cx="6858000" cy="9144000"/>
  <p:custDataLst>
    <p:tags r:id="rId3"/>
  </p:custDataLst>
  <p:defaultTextStyle>
    <a:defPPr>
      <a:defRPr lang="de-DE"/>
    </a:defPPr>
    <a:lvl1pPr marL="0" algn="l" defTabSz="287945" rtl="0" eaLnBrk="1" latinLnBrk="0" hangingPunct="1">
      <a:defRPr sz="567" kern="1200">
        <a:solidFill>
          <a:schemeClr val="tx1"/>
        </a:solidFill>
        <a:latin typeface="+mn-lt"/>
        <a:ea typeface="+mn-ea"/>
        <a:cs typeface="+mn-cs"/>
      </a:defRPr>
    </a:lvl1pPr>
    <a:lvl2pPr marL="143972" algn="l" defTabSz="287945" rtl="0" eaLnBrk="1" latinLnBrk="0" hangingPunct="1">
      <a:defRPr sz="567" kern="1200">
        <a:solidFill>
          <a:schemeClr val="tx1"/>
        </a:solidFill>
        <a:latin typeface="+mn-lt"/>
        <a:ea typeface="+mn-ea"/>
        <a:cs typeface="+mn-cs"/>
      </a:defRPr>
    </a:lvl2pPr>
    <a:lvl3pPr marL="287945" algn="l" defTabSz="287945" rtl="0" eaLnBrk="1" latinLnBrk="0" hangingPunct="1">
      <a:defRPr sz="567" kern="1200">
        <a:solidFill>
          <a:schemeClr val="tx1"/>
        </a:solidFill>
        <a:latin typeface="+mn-lt"/>
        <a:ea typeface="+mn-ea"/>
        <a:cs typeface="+mn-cs"/>
      </a:defRPr>
    </a:lvl3pPr>
    <a:lvl4pPr marL="431917" algn="l" defTabSz="287945" rtl="0" eaLnBrk="1" latinLnBrk="0" hangingPunct="1">
      <a:defRPr sz="567" kern="1200">
        <a:solidFill>
          <a:schemeClr val="tx1"/>
        </a:solidFill>
        <a:latin typeface="+mn-lt"/>
        <a:ea typeface="+mn-ea"/>
        <a:cs typeface="+mn-cs"/>
      </a:defRPr>
    </a:lvl4pPr>
    <a:lvl5pPr marL="575889" algn="l" defTabSz="287945" rtl="0" eaLnBrk="1" latinLnBrk="0" hangingPunct="1">
      <a:defRPr sz="567" kern="1200">
        <a:solidFill>
          <a:schemeClr val="tx1"/>
        </a:solidFill>
        <a:latin typeface="+mn-lt"/>
        <a:ea typeface="+mn-ea"/>
        <a:cs typeface="+mn-cs"/>
      </a:defRPr>
    </a:lvl5pPr>
    <a:lvl6pPr marL="719861" algn="l" defTabSz="287945" rtl="0" eaLnBrk="1" latinLnBrk="0" hangingPunct="1">
      <a:defRPr sz="567" kern="1200">
        <a:solidFill>
          <a:schemeClr val="tx1"/>
        </a:solidFill>
        <a:latin typeface="+mn-lt"/>
        <a:ea typeface="+mn-ea"/>
        <a:cs typeface="+mn-cs"/>
      </a:defRPr>
    </a:lvl6pPr>
    <a:lvl7pPr marL="863834" algn="l" defTabSz="287945" rtl="0" eaLnBrk="1" latinLnBrk="0" hangingPunct="1">
      <a:defRPr sz="567" kern="1200">
        <a:solidFill>
          <a:schemeClr val="tx1"/>
        </a:solidFill>
        <a:latin typeface="+mn-lt"/>
        <a:ea typeface="+mn-ea"/>
        <a:cs typeface="+mn-cs"/>
      </a:defRPr>
    </a:lvl7pPr>
    <a:lvl8pPr marL="1007806" algn="l" defTabSz="287945" rtl="0" eaLnBrk="1" latinLnBrk="0" hangingPunct="1">
      <a:defRPr sz="567" kern="1200">
        <a:solidFill>
          <a:schemeClr val="tx1"/>
        </a:solidFill>
        <a:latin typeface="+mn-lt"/>
        <a:ea typeface="+mn-ea"/>
        <a:cs typeface="+mn-cs"/>
      </a:defRPr>
    </a:lvl8pPr>
    <a:lvl9pPr marL="1151778" algn="l" defTabSz="287945" rtl="0" eaLnBrk="1" latinLnBrk="0" hangingPunct="1">
      <a:defRPr sz="56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49" userDrawn="1">
          <p15:clr>
            <a:srgbClr val="A4A3A4"/>
          </p15:clr>
        </p15:guide>
        <p15:guide id="2" pos="79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640" autoAdjust="0"/>
    <p:restoredTop sz="94660"/>
  </p:normalViewPr>
  <p:slideViewPr>
    <p:cSldViewPr>
      <p:cViewPr>
        <p:scale>
          <a:sx n="300" d="100"/>
          <a:sy n="300" d="100"/>
        </p:scale>
        <p:origin x="4308" y="216"/>
      </p:cViewPr>
      <p:guideLst>
        <p:guide orient="horz" pos="749"/>
        <p:guide pos="794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88956" y="738252"/>
            <a:ext cx="2141459" cy="509404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77907" y="1346676"/>
            <a:ext cx="1763555" cy="607326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19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39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597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796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99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194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39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559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826540" y="95179"/>
            <a:ext cx="566857" cy="2027717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25977" y="95179"/>
            <a:ext cx="1658581" cy="2027717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9016" y="1527123"/>
            <a:ext cx="2141459" cy="471996"/>
          </a:xfrm>
        </p:spPr>
        <p:txBody>
          <a:bodyPr anchor="t"/>
          <a:lstStyle>
            <a:lvl1pPr algn="l">
              <a:defRPr sz="2800" b="1" cap="all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99016" y="1007260"/>
            <a:ext cx="2141459" cy="519857"/>
          </a:xfrm>
        </p:spPr>
        <p:txBody>
          <a:bodyPr anchor="b"/>
          <a:lstStyle>
            <a:lvl1pPr marL="0" indent="0">
              <a:buNone/>
              <a:defRPr sz="1399">
                <a:solidFill>
                  <a:schemeClr val="tx1">
                    <a:tint val="75000"/>
                  </a:schemeClr>
                </a:solidFill>
              </a:defRPr>
            </a:lvl1pPr>
            <a:lvl2pPr marL="319900" indent="0">
              <a:buNone/>
              <a:defRPr sz="1259">
                <a:solidFill>
                  <a:schemeClr val="tx1">
                    <a:tint val="75000"/>
                  </a:schemeClr>
                </a:solidFill>
              </a:defRPr>
            </a:lvl2pPr>
            <a:lvl3pPr marL="639801" indent="0">
              <a:buNone/>
              <a:defRPr sz="1120">
                <a:solidFill>
                  <a:schemeClr val="tx1">
                    <a:tint val="75000"/>
                  </a:schemeClr>
                </a:solidFill>
              </a:defRPr>
            </a:lvl3pPr>
            <a:lvl4pPr marL="959701" indent="0">
              <a:buNone/>
              <a:defRPr sz="980">
                <a:solidFill>
                  <a:schemeClr val="tx1">
                    <a:tint val="75000"/>
                  </a:schemeClr>
                </a:solidFill>
              </a:defRPr>
            </a:lvl4pPr>
            <a:lvl5pPr marL="1279604" indent="0">
              <a:buNone/>
              <a:defRPr sz="980">
                <a:solidFill>
                  <a:schemeClr val="tx1">
                    <a:tint val="75000"/>
                  </a:schemeClr>
                </a:solidFill>
              </a:defRPr>
            </a:lvl5pPr>
            <a:lvl6pPr marL="1599504" indent="0">
              <a:buNone/>
              <a:defRPr sz="980">
                <a:solidFill>
                  <a:schemeClr val="tx1">
                    <a:tint val="75000"/>
                  </a:schemeClr>
                </a:solidFill>
              </a:defRPr>
            </a:lvl6pPr>
            <a:lvl7pPr marL="1919405" indent="0">
              <a:buNone/>
              <a:defRPr sz="980">
                <a:solidFill>
                  <a:schemeClr val="tx1">
                    <a:tint val="75000"/>
                  </a:schemeClr>
                </a:solidFill>
              </a:defRPr>
            </a:lvl7pPr>
            <a:lvl8pPr marL="2239305" indent="0">
              <a:buNone/>
              <a:defRPr sz="980">
                <a:solidFill>
                  <a:schemeClr val="tx1">
                    <a:tint val="75000"/>
                  </a:schemeClr>
                </a:solidFill>
              </a:defRPr>
            </a:lvl8pPr>
            <a:lvl9pPr marL="2559204" indent="0">
              <a:buNone/>
              <a:defRPr sz="9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5969" y="554521"/>
            <a:ext cx="1112720" cy="1568372"/>
          </a:xfrm>
        </p:spPr>
        <p:txBody>
          <a:bodyPr/>
          <a:lstStyle>
            <a:lvl1pPr>
              <a:defRPr sz="1959"/>
            </a:lvl1pPr>
            <a:lvl2pPr>
              <a:defRPr sz="1680"/>
            </a:lvl2pPr>
            <a:lvl3pPr>
              <a:defRPr sz="1399"/>
            </a:lvl3pPr>
            <a:lvl4pPr>
              <a:defRPr sz="1259"/>
            </a:lvl4pPr>
            <a:lvl5pPr>
              <a:defRPr sz="1259"/>
            </a:lvl5pPr>
            <a:lvl6pPr>
              <a:defRPr sz="1259"/>
            </a:lvl6pPr>
            <a:lvl7pPr>
              <a:defRPr sz="1259"/>
            </a:lvl7pPr>
            <a:lvl8pPr>
              <a:defRPr sz="1259"/>
            </a:lvl8pPr>
            <a:lvl9pPr>
              <a:defRPr sz="1259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80675" y="554521"/>
            <a:ext cx="1112720" cy="1568372"/>
          </a:xfrm>
        </p:spPr>
        <p:txBody>
          <a:bodyPr/>
          <a:lstStyle>
            <a:lvl1pPr>
              <a:defRPr sz="1959"/>
            </a:lvl1pPr>
            <a:lvl2pPr>
              <a:defRPr sz="1680"/>
            </a:lvl2pPr>
            <a:lvl3pPr>
              <a:defRPr sz="1399"/>
            </a:lvl3pPr>
            <a:lvl4pPr>
              <a:defRPr sz="1259"/>
            </a:lvl4pPr>
            <a:lvl5pPr>
              <a:defRPr sz="1259"/>
            </a:lvl5pPr>
            <a:lvl6pPr>
              <a:defRPr sz="1259"/>
            </a:lvl6pPr>
            <a:lvl7pPr>
              <a:defRPr sz="1259"/>
            </a:lvl7pPr>
            <a:lvl8pPr>
              <a:defRPr sz="1259"/>
            </a:lvl8pPr>
            <a:lvl9pPr>
              <a:defRPr sz="1259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5972" y="531965"/>
            <a:ext cx="1113156" cy="221696"/>
          </a:xfrm>
        </p:spPr>
        <p:txBody>
          <a:bodyPr anchor="b"/>
          <a:lstStyle>
            <a:lvl1pPr marL="0" indent="0">
              <a:buNone/>
              <a:defRPr sz="1680" b="1"/>
            </a:lvl1pPr>
            <a:lvl2pPr marL="319900" indent="0">
              <a:buNone/>
              <a:defRPr sz="1399" b="1"/>
            </a:lvl2pPr>
            <a:lvl3pPr marL="639801" indent="0">
              <a:buNone/>
              <a:defRPr sz="1259" b="1"/>
            </a:lvl3pPr>
            <a:lvl4pPr marL="959701" indent="0">
              <a:buNone/>
              <a:defRPr sz="1120" b="1"/>
            </a:lvl4pPr>
            <a:lvl5pPr marL="1279604" indent="0">
              <a:buNone/>
              <a:defRPr sz="1120" b="1"/>
            </a:lvl5pPr>
            <a:lvl6pPr marL="1599504" indent="0">
              <a:buNone/>
              <a:defRPr sz="1120" b="1"/>
            </a:lvl6pPr>
            <a:lvl7pPr marL="1919405" indent="0">
              <a:buNone/>
              <a:defRPr sz="1120" b="1"/>
            </a:lvl7pPr>
            <a:lvl8pPr marL="2239305" indent="0">
              <a:buNone/>
              <a:defRPr sz="1120" b="1"/>
            </a:lvl8pPr>
            <a:lvl9pPr marL="2559204" indent="0">
              <a:buNone/>
              <a:defRPr sz="112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5972" y="753659"/>
            <a:ext cx="1113156" cy="1369231"/>
          </a:xfrm>
        </p:spPr>
        <p:txBody>
          <a:bodyPr/>
          <a:lstStyle>
            <a:lvl1pPr>
              <a:defRPr sz="1680"/>
            </a:lvl1pPr>
            <a:lvl2pPr>
              <a:defRPr sz="1399"/>
            </a:lvl2pPr>
            <a:lvl3pPr>
              <a:defRPr sz="1259"/>
            </a:lvl3pPr>
            <a:lvl4pPr>
              <a:defRPr sz="1120"/>
            </a:lvl4pPr>
            <a:lvl5pPr>
              <a:defRPr sz="1120"/>
            </a:lvl5pPr>
            <a:lvl6pPr>
              <a:defRPr sz="1120"/>
            </a:lvl6pPr>
            <a:lvl7pPr>
              <a:defRPr sz="1120"/>
            </a:lvl7pPr>
            <a:lvl8pPr>
              <a:defRPr sz="1120"/>
            </a:lvl8pPr>
            <a:lvl9pPr>
              <a:defRPr sz="112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1279802" y="531965"/>
            <a:ext cx="1113594" cy="221696"/>
          </a:xfrm>
        </p:spPr>
        <p:txBody>
          <a:bodyPr anchor="b"/>
          <a:lstStyle>
            <a:lvl1pPr marL="0" indent="0">
              <a:buNone/>
              <a:defRPr sz="1680" b="1"/>
            </a:lvl1pPr>
            <a:lvl2pPr marL="319900" indent="0">
              <a:buNone/>
              <a:defRPr sz="1399" b="1"/>
            </a:lvl2pPr>
            <a:lvl3pPr marL="639801" indent="0">
              <a:buNone/>
              <a:defRPr sz="1259" b="1"/>
            </a:lvl3pPr>
            <a:lvl4pPr marL="959701" indent="0">
              <a:buNone/>
              <a:defRPr sz="1120" b="1"/>
            </a:lvl4pPr>
            <a:lvl5pPr marL="1279604" indent="0">
              <a:buNone/>
              <a:defRPr sz="1120" b="1"/>
            </a:lvl5pPr>
            <a:lvl6pPr marL="1599504" indent="0">
              <a:buNone/>
              <a:defRPr sz="1120" b="1"/>
            </a:lvl6pPr>
            <a:lvl7pPr marL="1919405" indent="0">
              <a:buNone/>
              <a:defRPr sz="1120" b="1"/>
            </a:lvl7pPr>
            <a:lvl8pPr marL="2239305" indent="0">
              <a:buNone/>
              <a:defRPr sz="1120" b="1"/>
            </a:lvl8pPr>
            <a:lvl9pPr marL="2559204" indent="0">
              <a:buNone/>
              <a:defRPr sz="112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1279802" y="753659"/>
            <a:ext cx="1113594" cy="1369231"/>
          </a:xfrm>
        </p:spPr>
        <p:txBody>
          <a:bodyPr/>
          <a:lstStyle>
            <a:lvl1pPr>
              <a:defRPr sz="1680"/>
            </a:lvl1pPr>
            <a:lvl2pPr>
              <a:defRPr sz="1399"/>
            </a:lvl2pPr>
            <a:lvl3pPr>
              <a:defRPr sz="1259"/>
            </a:lvl3pPr>
            <a:lvl4pPr>
              <a:defRPr sz="1120"/>
            </a:lvl4pPr>
            <a:lvl5pPr>
              <a:defRPr sz="1120"/>
            </a:lvl5pPr>
            <a:lvl6pPr>
              <a:defRPr sz="1120"/>
            </a:lvl6pPr>
            <a:lvl7pPr>
              <a:defRPr sz="1120"/>
            </a:lvl7pPr>
            <a:lvl8pPr>
              <a:defRPr sz="1120"/>
            </a:lvl8pPr>
            <a:lvl9pPr>
              <a:defRPr sz="112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5970" y="94624"/>
            <a:ext cx="828854" cy="402682"/>
          </a:xfrm>
        </p:spPr>
        <p:txBody>
          <a:bodyPr anchor="b"/>
          <a:lstStyle>
            <a:lvl1pPr algn="l">
              <a:defRPr sz="1399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85005" y="94623"/>
            <a:ext cx="1408394" cy="2028268"/>
          </a:xfrm>
        </p:spPr>
        <p:txBody>
          <a:bodyPr/>
          <a:lstStyle>
            <a:lvl1pPr>
              <a:defRPr sz="2240"/>
            </a:lvl1pPr>
            <a:lvl2pPr>
              <a:defRPr sz="1959"/>
            </a:lvl2pPr>
            <a:lvl3pPr>
              <a:defRPr sz="1680"/>
            </a:lvl3pPr>
            <a:lvl4pPr>
              <a:defRPr sz="1399"/>
            </a:lvl4pPr>
            <a:lvl5pPr>
              <a:defRPr sz="1399"/>
            </a:lvl5pPr>
            <a:lvl6pPr>
              <a:defRPr sz="1399"/>
            </a:lvl6pPr>
            <a:lvl7pPr>
              <a:defRPr sz="1399"/>
            </a:lvl7pPr>
            <a:lvl8pPr>
              <a:defRPr sz="1399"/>
            </a:lvl8pPr>
            <a:lvl9pPr>
              <a:defRPr sz="1399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25970" y="497302"/>
            <a:ext cx="828854" cy="1625584"/>
          </a:xfrm>
        </p:spPr>
        <p:txBody>
          <a:bodyPr/>
          <a:lstStyle>
            <a:lvl1pPr marL="0" indent="0">
              <a:buNone/>
              <a:defRPr sz="980"/>
            </a:lvl1pPr>
            <a:lvl2pPr marL="319900" indent="0">
              <a:buNone/>
              <a:defRPr sz="841"/>
            </a:lvl2pPr>
            <a:lvl3pPr marL="639801" indent="0">
              <a:buNone/>
              <a:defRPr sz="699"/>
            </a:lvl3pPr>
            <a:lvl4pPr marL="959701" indent="0">
              <a:buNone/>
              <a:defRPr sz="630"/>
            </a:lvl4pPr>
            <a:lvl5pPr marL="1279604" indent="0">
              <a:buNone/>
              <a:defRPr sz="630"/>
            </a:lvl5pPr>
            <a:lvl6pPr marL="1599504" indent="0">
              <a:buNone/>
              <a:defRPr sz="630"/>
            </a:lvl6pPr>
            <a:lvl7pPr marL="1919405" indent="0">
              <a:buNone/>
              <a:defRPr sz="630"/>
            </a:lvl7pPr>
            <a:lvl8pPr marL="2239305" indent="0">
              <a:buNone/>
              <a:defRPr sz="630"/>
            </a:lvl8pPr>
            <a:lvl9pPr marL="2559204" indent="0">
              <a:buNone/>
              <a:defRPr sz="63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3817" y="1663546"/>
            <a:ext cx="1511618" cy="196390"/>
          </a:xfrm>
        </p:spPr>
        <p:txBody>
          <a:bodyPr anchor="b"/>
          <a:lstStyle>
            <a:lvl1pPr algn="l">
              <a:defRPr sz="1399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493817" y="212354"/>
            <a:ext cx="1511618" cy="1425893"/>
          </a:xfrm>
        </p:spPr>
        <p:txBody>
          <a:bodyPr/>
          <a:lstStyle>
            <a:lvl1pPr marL="0" indent="0">
              <a:buNone/>
              <a:defRPr sz="2240"/>
            </a:lvl1pPr>
            <a:lvl2pPr marL="319900" indent="0">
              <a:buNone/>
              <a:defRPr sz="1959"/>
            </a:lvl2pPr>
            <a:lvl3pPr marL="639801" indent="0">
              <a:buNone/>
              <a:defRPr sz="1680"/>
            </a:lvl3pPr>
            <a:lvl4pPr marL="959701" indent="0">
              <a:buNone/>
              <a:defRPr sz="1399"/>
            </a:lvl4pPr>
            <a:lvl5pPr marL="1279604" indent="0">
              <a:buNone/>
              <a:defRPr sz="1399"/>
            </a:lvl5pPr>
            <a:lvl6pPr marL="1599504" indent="0">
              <a:buNone/>
              <a:defRPr sz="1399"/>
            </a:lvl6pPr>
            <a:lvl7pPr marL="1919405" indent="0">
              <a:buNone/>
              <a:defRPr sz="1399"/>
            </a:lvl7pPr>
            <a:lvl8pPr marL="2239305" indent="0">
              <a:buNone/>
              <a:defRPr sz="1399"/>
            </a:lvl8pPr>
            <a:lvl9pPr marL="2559204" indent="0">
              <a:buNone/>
              <a:defRPr sz="1399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93817" y="1859935"/>
            <a:ext cx="1511618" cy="278908"/>
          </a:xfrm>
        </p:spPr>
        <p:txBody>
          <a:bodyPr/>
          <a:lstStyle>
            <a:lvl1pPr marL="0" indent="0">
              <a:buNone/>
              <a:defRPr sz="980"/>
            </a:lvl1pPr>
            <a:lvl2pPr marL="319900" indent="0">
              <a:buNone/>
              <a:defRPr sz="841"/>
            </a:lvl2pPr>
            <a:lvl3pPr marL="639801" indent="0">
              <a:buNone/>
              <a:defRPr sz="699"/>
            </a:lvl3pPr>
            <a:lvl4pPr marL="959701" indent="0">
              <a:buNone/>
              <a:defRPr sz="630"/>
            </a:lvl4pPr>
            <a:lvl5pPr marL="1279604" indent="0">
              <a:buNone/>
              <a:defRPr sz="630"/>
            </a:lvl5pPr>
            <a:lvl6pPr marL="1599504" indent="0">
              <a:buNone/>
              <a:defRPr sz="630"/>
            </a:lvl6pPr>
            <a:lvl7pPr marL="1919405" indent="0">
              <a:buNone/>
              <a:defRPr sz="630"/>
            </a:lvl7pPr>
            <a:lvl8pPr marL="2239305" indent="0">
              <a:buNone/>
              <a:defRPr sz="630"/>
            </a:lvl8pPr>
            <a:lvl9pPr marL="2559204" indent="0">
              <a:buNone/>
              <a:defRPr sz="63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03724690"/>
              </p:ext>
            </p:extLst>
          </p:nvPr>
        </p:nvGraphicFramePr>
        <p:xfrm>
          <a:off x="438" y="554"/>
          <a:ext cx="438" cy="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Folie" r:id="rId16" imgW="384" imgH="384" progId="TCLayout.ActiveDocument.1">
                  <p:embed/>
                </p:oleObj>
              </mc:Choice>
              <mc:Fallback>
                <p:oleObj name="think-cell Folie" r:id="rId16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438" y="554"/>
                        <a:ext cx="438" cy="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5"/>
            </p:custDataLst>
          </p:nvPr>
        </p:nvSpPr>
        <p:spPr>
          <a:xfrm>
            <a:off x="3" y="2"/>
            <a:ext cx="43739" cy="550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3079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25971" y="95172"/>
            <a:ext cx="2267426" cy="3960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5971" y="554521"/>
            <a:ext cx="2267426" cy="15683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25974" y="2202660"/>
            <a:ext cx="587851" cy="1265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4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EF7ADF-C373-4E12-BA8C-AAEE52A088DE}" type="datetimeFigureOut">
              <a:rPr lang="de-DE" smtClean="0"/>
              <a:pPr/>
              <a:t>04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60786" y="2202660"/>
            <a:ext cx="797799" cy="1265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4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805550" y="2202660"/>
            <a:ext cx="587851" cy="1265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4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639801" rtl="0" eaLnBrk="1" latinLnBrk="0" hangingPunct="1">
        <a:spcBef>
          <a:spcPct val="0"/>
        </a:spcBef>
        <a:buNone/>
        <a:defRPr sz="3079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39927" indent="-239927" algn="l" defTabSz="639801" rtl="0" eaLnBrk="1" latinLnBrk="0" hangingPunct="1">
        <a:spcBef>
          <a:spcPct val="20000"/>
        </a:spcBef>
        <a:buFont typeface="Arial" pitchFamily="34" charset="0"/>
        <a:buChar char="•"/>
        <a:defRPr sz="224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19839" indent="-199939" algn="l" defTabSz="639801" rtl="0" eaLnBrk="1" latinLnBrk="0" hangingPunct="1">
        <a:spcBef>
          <a:spcPct val="20000"/>
        </a:spcBef>
        <a:buFont typeface="Arial" pitchFamily="34" charset="0"/>
        <a:buChar char="–"/>
        <a:defRPr sz="195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799753" indent="-159950" algn="l" defTabSz="639801" rtl="0" eaLnBrk="1" latinLnBrk="0" hangingPunct="1">
        <a:spcBef>
          <a:spcPct val="20000"/>
        </a:spcBef>
        <a:buFont typeface="Arial" pitchFamily="34" charset="0"/>
        <a:buChar char="•"/>
        <a:defRPr sz="168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119652" indent="-159950" algn="l" defTabSz="639801" rtl="0" eaLnBrk="1" latinLnBrk="0" hangingPunct="1">
        <a:spcBef>
          <a:spcPct val="20000"/>
        </a:spcBef>
        <a:buFont typeface="Arial" pitchFamily="34" charset="0"/>
        <a:buChar char="–"/>
        <a:defRPr sz="139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439554" indent="-159950" algn="l" defTabSz="639801" rtl="0" eaLnBrk="1" latinLnBrk="0" hangingPunct="1">
        <a:spcBef>
          <a:spcPct val="20000"/>
        </a:spcBef>
        <a:buFont typeface="Arial" pitchFamily="34" charset="0"/>
        <a:buChar char="»"/>
        <a:defRPr sz="139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759455" indent="-159950" algn="l" defTabSz="639801" rtl="0" eaLnBrk="1" latinLnBrk="0" hangingPunct="1">
        <a:spcBef>
          <a:spcPct val="20000"/>
        </a:spcBef>
        <a:buFont typeface="Arial" pitchFamily="34" charset="0"/>
        <a:buChar char="•"/>
        <a:defRPr sz="1399" kern="1200">
          <a:solidFill>
            <a:schemeClr val="tx1"/>
          </a:solidFill>
          <a:latin typeface="+mn-lt"/>
          <a:ea typeface="+mn-ea"/>
          <a:cs typeface="+mn-cs"/>
        </a:defRPr>
      </a:lvl6pPr>
      <a:lvl7pPr marL="2079355" indent="-159950" algn="l" defTabSz="639801" rtl="0" eaLnBrk="1" latinLnBrk="0" hangingPunct="1">
        <a:spcBef>
          <a:spcPct val="20000"/>
        </a:spcBef>
        <a:buFont typeface="Arial" pitchFamily="34" charset="0"/>
        <a:buChar char="•"/>
        <a:defRPr sz="1399" kern="1200">
          <a:solidFill>
            <a:schemeClr val="tx1"/>
          </a:solidFill>
          <a:latin typeface="+mn-lt"/>
          <a:ea typeface="+mn-ea"/>
          <a:cs typeface="+mn-cs"/>
        </a:defRPr>
      </a:lvl7pPr>
      <a:lvl8pPr marL="2399254" indent="-159950" algn="l" defTabSz="639801" rtl="0" eaLnBrk="1" latinLnBrk="0" hangingPunct="1">
        <a:spcBef>
          <a:spcPct val="20000"/>
        </a:spcBef>
        <a:buFont typeface="Arial" pitchFamily="34" charset="0"/>
        <a:buChar char="•"/>
        <a:defRPr sz="1399" kern="1200">
          <a:solidFill>
            <a:schemeClr val="tx1"/>
          </a:solidFill>
          <a:latin typeface="+mn-lt"/>
          <a:ea typeface="+mn-ea"/>
          <a:cs typeface="+mn-cs"/>
        </a:defRPr>
      </a:lvl8pPr>
      <a:lvl9pPr marL="2719156" indent="-159950" algn="l" defTabSz="639801" rtl="0" eaLnBrk="1" latinLnBrk="0" hangingPunct="1">
        <a:spcBef>
          <a:spcPct val="20000"/>
        </a:spcBef>
        <a:buFont typeface="Arial" pitchFamily="34" charset="0"/>
        <a:buChar char="•"/>
        <a:defRPr sz="1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39801" rtl="0" eaLnBrk="1" latinLnBrk="0" hangingPunct="1">
        <a:defRPr sz="1259" kern="1200">
          <a:solidFill>
            <a:schemeClr val="tx1"/>
          </a:solidFill>
          <a:latin typeface="+mn-lt"/>
          <a:ea typeface="+mn-ea"/>
          <a:cs typeface="+mn-cs"/>
        </a:defRPr>
      </a:lvl1pPr>
      <a:lvl2pPr marL="319900" algn="l" defTabSz="639801" rtl="0" eaLnBrk="1" latinLnBrk="0" hangingPunct="1">
        <a:defRPr sz="1259" kern="1200">
          <a:solidFill>
            <a:schemeClr val="tx1"/>
          </a:solidFill>
          <a:latin typeface="+mn-lt"/>
          <a:ea typeface="+mn-ea"/>
          <a:cs typeface="+mn-cs"/>
        </a:defRPr>
      </a:lvl2pPr>
      <a:lvl3pPr marL="639801" algn="l" defTabSz="639801" rtl="0" eaLnBrk="1" latinLnBrk="0" hangingPunct="1">
        <a:defRPr sz="1259" kern="1200">
          <a:solidFill>
            <a:schemeClr val="tx1"/>
          </a:solidFill>
          <a:latin typeface="+mn-lt"/>
          <a:ea typeface="+mn-ea"/>
          <a:cs typeface="+mn-cs"/>
        </a:defRPr>
      </a:lvl3pPr>
      <a:lvl4pPr marL="959701" algn="l" defTabSz="639801" rtl="0" eaLnBrk="1" latinLnBrk="0" hangingPunct="1">
        <a:defRPr sz="1259" kern="1200">
          <a:solidFill>
            <a:schemeClr val="tx1"/>
          </a:solidFill>
          <a:latin typeface="+mn-lt"/>
          <a:ea typeface="+mn-ea"/>
          <a:cs typeface="+mn-cs"/>
        </a:defRPr>
      </a:lvl4pPr>
      <a:lvl5pPr marL="1279604" algn="l" defTabSz="639801" rtl="0" eaLnBrk="1" latinLnBrk="0" hangingPunct="1">
        <a:defRPr sz="1259" kern="1200">
          <a:solidFill>
            <a:schemeClr val="tx1"/>
          </a:solidFill>
          <a:latin typeface="+mn-lt"/>
          <a:ea typeface="+mn-ea"/>
          <a:cs typeface="+mn-cs"/>
        </a:defRPr>
      </a:lvl5pPr>
      <a:lvl6pPr marL="1599504" algn="l" defTabSz="639801" rtl="0" eaLnBrk="1" latinLnBrk="0" hangingPunct="1">
        <a:defRPr sz="1259" kern="1200">
          <a:solidFill>
            <a:schemeClr val="tx1"/>
          </a:solidFill>
          <a:latin typeface="+mn-lt"/>
          <a:ea typeface="+mn-ea"/>
          <a:cs typeface="+mn-cs"/>
        </a:defRPr>
      </a:lvl6pPr>
      <a:lvl7pPr marL="1919405" algn="l" defTabSz="639801" rtl="0" eaLnBrk="1" latinLnBrk="0" hangingPunct="1">
        <a:defRPr sz="1259" kern="1200">
          <a:solidFill>
            <a:schemeClr val="tx1"/>
          </a:solidFill>
          <a:latin typeface="+mn-lt"/>
          <a:ea typeface="+mn-ea"/>
          <a:cs typeface="+mn-cs"/>
        </a:defRPr>
      </a:lvl7pPr>
      <a:lvl8pPr marL="2239305" algn="l" defTabSz="639801" rtl="0" eaLnBrk="1" latinLnBrk="0" hangingPunct="1">
        <a:defRPr sz="1259" kern="1200">
          <a:solidFill>
            <a:schemeClr val="tx1"/>
          </a:solidFill>
          <a:latin typeface="+mn-lt"/>
          <a:ea typeface="+mn-ea"/>
          <a:cs typeface="+mn-cs"/>
        </a:defRPr>
      </a:lvl8pPr>
      <a:lvl9pPr marL="2559204" algn="l" defTabSz="639801" rtl="0" eaLnBrk="1" latinLnBrk="0" hangingPunct="1">
        <a:defRPr sz="12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7024988"/>
              </p:ext>
            </p:extLst>
          </p:nvPr>
        </p:nvGraphicFramePr>
        <p:xfrm>
          <a:off x="-2442159" y="-1390759"/>
          <a:ext cx="1111" cy="11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Folie" r:id="rId4" imgW="384" imgH="384" progId="TCLayout.ActiveDocument.1">
                  <p:embed/>
                </p:oleObj>
              </mc:Choice>
              <mc:Fallback>
                <p:oleObj name="think-cell Foli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2442159" y="-1390759"/>
                        <a:ext cx="1111" cy="11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>
          <a:xfrm>
            <a:off x="-3708871" y="469941"/>
            <a:ext cx="3325512" cy="23681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984" tIns="31991" rIns="63984" bIns="319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398"/>
          </a:p>
        </p:txBody>
      </p:sp>
      <p:pic>
        <p:nvPicPr>
          <p:cNvPr id="4" name="Inhaltsplatzhalter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75" t="3575" r="35405" b="4665"/>
          <a:stretch/>
        </p:blipFill>
        <p:spPr>
          <a:xfrm>
            <a:off x="20334" y="382061"/>
            <a:ext cx="1447656" cy="1615499"/>
          </a:xfrm>
          <a:prstGeom prst="rect">
            <a:avLst/>
          </a:prstGeom>
        </p:spPr>
      </p:pic>
      <p:grpSp>
        <p:nvGrpSpPr>
          <p:cNvPr id="5" name="Gruppieren 4"/>
          <p:cNvGrpSpPr/>
          <p:nvPr/>
        </p:nvGrpSpPr>
        <p:grpSpPr>
          <a:xfrm>
            <a:off x="1122118" y="202488"/>
            <a:ext cx="1487908" cy="2074206"/>
            <a:chOff x="1487490" y="3356992"/>
            <a:chExt cx="602090" cy="2943741"/>
          </a:xfrm>
        </p:grpSpPr>
        <p:sp>
          <p:nvSpPr>
            <p:cNvPr id="6" name="Textfeld 5"/>
            <p:cNvSpPr txBox="1"/>
            <p:nvPr/>
          </p:nvSpPr>
          <p:spPr>
            <a:xfrm>
              <a:off x="1487490" y="3356992"/>
              <a:ext cx="602090" cy="5674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999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ayer 6</a:t>
              </a:r>
              <a:r>
                <a:rPr lang="de-DE" sz="999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/>
              </a:r>
              <a:br>
                <a:rPr lang="de-DE" sz="999" dirty="0">
                  <a:latin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999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ata </a:t>
              </a:r>
              <a:r>
                <a:rPr lang="de-DE" sz="999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and</a:t>
              </a:r>
              <a:r>
                <a:rPr lang="de-DE" sz="999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de-DE" sz="999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communacation</a:t>
              </a:r>
              <a:endParaRPr lang="de-DE" sz="999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" name="Textfeld 6"/>
            <p:cNvSpPr txBox="1"/>
            <p:nvPr/>
          </p:nvSpPr>
          <p:spPr>
            <a:xfrm>
              <a:off x="1487490" y="3832241"/>
              <a:ext cx="573549" cy="5674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999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ayer 5</a:t>
              </a:r>
              <a:r>
                <a:rPr lang="de-DE" sz="999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/>
              </a:r>
              <a:br>
                <a:rPr lang="de-DE" sz="999" dirty="0">
                  <a:latin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999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Environment </a:t>
              </a:r>
              <a:r>
                <a:rPr lang="de-DE" sz="999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conditions</a:t>
              </a:r>
              <a:endParaRPr lang="de-DE" sz="999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" name="Textfeld 7"/>
            <p:cNvSpPr txBox="1"/>
            <p:nvPr/>
          </p:nvSpPr>
          <p:spPr>
            <a:xfrm>
              <a:off x="1487490" y="4307502"/>
              <a:ext cx="417220" cy="5674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999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ayer 4</a:t>
              </a:r>
              <a:r>
                <a:rPr lang="de-DE" sz="999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/>
              </a:r>
              <a:br>
                <a:rPr lang="de-DE" sz="999" dirty="0">
                  <a:latin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999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Movable</a:t>
              </a:r>
              <a:r>
                <a:rPr lang="de-DE" sz="999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de-DE" sz="999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objects</a:t>
              </a:r>
              <a:endParaRPr lang="de-DE" sz="999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1487490" y="4782752"/>
              <a:ext cx="572900" cy="5674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999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ayer 3</a:t>
              </a:r>
              <a:r>
                <a:rPr lang="de-DE" sz="999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/>
              </a:r>
              <a:br>
                <a:rPr lang="de-DE" sz="999" dirty="0">
                  <a:latin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999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emporal </a:t>
              </a:r>
              <a:r>
                <a:rPr lang="de-DE" sz="999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modifications</a:t>
              </a:r>
              <a:endParaRPr lang="de-DE" sz="999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" name="Textfeld 9"/>
            <p:cNvSpPr txBox="1"/>
            <p:nvPr/>
          </p:nvSpPr>
          <p:spPr>
            <a:xfrm>
              <a:off x="1487490" y="5258004"/>
              <a:ext cx="510628" cy="5674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999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ayer 2</a:t>
              </a:r>
              <a:r>
                <a:rPr lang="de-DE" sz="999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/>
              </a:r>
              <a:br>
                <a:rPr lang="de-DE" sz="999" dirty="0">
                  <a:latin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999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raffic </a:t>
              </a:r>
              <a:r>
                <a:rPr lang="de-DE" sz="999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infrastructure</a:t>
              </a:r>
              <a:endParaRPr lang="de-DE" sz="999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Textfeld 10"/>
            <p:cNvSpPr txBox="1"/>
            <p:nvPr/>
          </p:nvSpPr>
          <p:spPr>
            <a:xfrm>
              <a:off x="1487490" y="5733256"/>
              <a:ext cx="310840" cy="5674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999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ayer 1</a:t>
              </a:r>
              <a:r>
                <a:rPr lang="de-DE" sz="999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/>
              </a:r>
              <a:br>
                <a:rPr lang="de-DE" sz="999" dirty="0">
                  <a:latin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999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treet </a:t>
              </a:r>
              <a:r>
                <a:rPr lang="de-DE" sz="999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layer</a:t>
              </a:r>
              <a:endParaRPr lang="de-DE" sz="999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Dic6jIxc_VbCxp7xND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1</Words>
  <Application>Microsoft Office PowerPoint</Application>
  <PresentationFormat>Benutzerdefiniert</PresentationFormat>
  <Paragraphs>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Times New Roman</vt:lpstr>
      <vt:lpstr>blank</vt:lpstr>
      <vt:lpstr>think-cell Folie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iel Becker</dc:creator>
  <cp:lastModifiedBy>Daniel Becker</cp:lastModifiedBy>
  <cp:revision>6</cp:revision>
  <dcterms:created xsi:type="dcterms:W3CDTF">2020-02-04T16:56:14Z</dcterms:created>
  <dcterms:modified xsi:type="dcterms:W3CDTF">2020-02-06T09:32:09Z</dcterms:modified>
</cp:coreProperties>
</file>